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266" autoAdjust="0"/>
    <p:restoredTop sz="94660"/>
  </p:normalViewPr>
  <p:slideViewPr>
    <p:cSldViewPr>
      <p:cViewPr varScale="1">
        <p:scale>
          <a:sx n="172" d="100"/>
          <a:sy n="172" d="100"/>
        </p:scale>
        <p:origin x="3232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54" d="100"/>
          <a:sy n="154" d="100"/>
        </p:scale>
        <p:origin x="46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9767" y="2232115"/>
            <a:ext cx="2804465" cy="239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0164AD0F-059D-5442-B832-4F71B8147B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4518BB65-E391-C345-9EFE-F1C8F707FE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725D54E1-F9F1-1948-B3CF-903A77E7B1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06C2823-B6EE-904B-889B-F8876FA735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7E940BB-F9BF-5D4A-83A9-B7F6288EDF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CC34FB6-478B-8C4F-93D9-E2EA56EA10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781D832-9106-4D47-8D6B-A9DDD9AD2B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D00E24F3-FBA5-854A-9895-9373453412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09A75D2B-2559-E64E-B68D-94D934F14A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CC5C6D9-5624-8848-A8DB-5988B39ED8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C42DD23-3579-6C4E-9538-517F0B3009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F2D1AE88-EF53-D149-A7E5-C7D906C0378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D328AAE6-15BD-894F-8897-4CBA1BB65F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B3F68D02-1863-FD47-9B56-867AF2331F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3AF46F07-7726-254A-BE2D-4DADF12BD4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DD00843E-14DF-8E46-9362-98B4CF2A37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1856670-44F3-484C-998D-74DCB14EFE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6" name="Image 25">
            <a:extLst>
              <a:ext uri="{FF2B5EF4-FFF2-40B4-BE49-F238E27FC236}">
                <a16:creationId xmlns:a16="http://schemas.microsoft.com/office/drawing/2014/main" id="{41AED1BA-934A-FD4E-AF8E-2415809ABC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FEC5590-60AF-C547-80D1-351049F63F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89FD20A-F4CF-DA4E-A4B5-458D03C046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4268738-2220-6A47-8D53-4AD8467969F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69767" y="2232115"/>
            <a:ext cx="2804465" cy="2393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E7BB34B7-37E4-BC45-A6E0-BB365B758B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33196E91-1964-0C4B-B789-615A841085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6E171650-A1BC-C44D-9234-88E80FAC579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9CF1362A-6EB4-4C4F-92ED-C0D7F35EB6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BF78E249-E0BB-E549-AB9A-152E1C2311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91D08833-B5DA-3E48-A248-132CF71B22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D8860948-1967-8844-98F4-0DD0AF1E50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F38B8194-3F26-B348-B05B-314ABEF4B2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4261AE72-BA29-AD46-AF49-B3B79A701E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8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C869712D-BB34-4749-AA8B-39D221D1F1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D53085F-5782-CF4D-A096-11EFE3BCD2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5A9A588-E0F9-FB40-9F6A-9038A7EBDA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CA37B6C-028D-A243-9BA6-F60351DB95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DE1578-1650-4045-B997-61B954F35A2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44D4072-06AE-E044-B3CE-634EFBD945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912AA77B-A528-2D41-86F9-59DB3F315A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637DB0D5-4A90-354B-B762-171DECDE2D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81201" y="6043433"/>
            <a:ext cx="723703" cy="617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8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5C13445F-82C7-0448-9BD2-B09FBAD6B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4667"/>
            <a:ext cx="9137787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tx1"/>
                </a:solidFill>
              </a:rPr>
              <a:pPr/>
              <a:t>18/07/2019</a:t>
            </a:fld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sans arrière-pla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61F7289-E63A-3E4E-A514-A0EAE031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05555" y="2220264"/>
            <a:ext cx="2832233" cy="241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488</TotalTime>
  <Words>1561</Words>
  <Application>Microsoft Macintosh PowerPoint</Application>
  <PresentationFormat>Affichage à l'écran (4:3)</PresentationFormat>
  <Paragraphs>513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18</cp:revision>
  <dcterms:created xsi:type="dcterms:W3CDTF">2019-07-01T07:23:30Z</dcterms:created>
  <dcterms:modified xsi:type="dcterms:W3CDTF">2019-07-18T16:01:09Z</dcterms:modified>
</cp:coreProperties>
</file>